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0"/>
  </p:notesMasterIdLst>
  <p:handoutMasterIdLst>
    <p:handoutMasterId r:id="rId11"/>
  </p:handoutMasterIdLst>
  <p:sldIdLst>
    <p:sldId id="265" r:id="rId2"/>
    <p:sldId id="2164" r:id="rId3"/>
    <p:sldId id="2162" r:id="rId4"/>
    <p:sldId id="2163" r:id="rId5"/>
    <p:sldId id="2166" r:id="rId6"/>
    <p:sldId id="2167" r:id="rId7"/>
    <p:sldId id="2161" r:id="rId8"/>
    <p:sldId id="2165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2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2313"/>
    <a:srgbClr val="95C11F"/>
    <a:srgbClr val="000000"/>
    <a:srgbClr val="7F7F7F"/>
    <a:srgbClr val="E77F00"/>
    <a:srgbClr val="C2BBAD"/>
    <a:srgbClr val="69614E"/>
    <a:srgbClr val="A1A250"/>
    <a:srgbClr val="A2AA3D"/>
    <a:srgbClr val="6F90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7016FC-CDD9-4668-B812-5F92D2815591}" v="1" dt="2023-07-06T08:48:08.7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68" d="100"/>
          <a:sy n="68" d="100"/>
        </p:scale>
        <p:origin x="696" y="72"/>
      </p:cViewPr>
      <p:guideLst>
        <p:guide orient="horz" pos="252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5" d="100"/>
          <a:sy n="85" d="100"/>
        </p:scale>
        <p:origin x="290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rika Van Eck   Transnet Corporate   JHB" userId="4765e879-ec35-4d79-91a9-bb22d33e1d8f" providerId="ADAL" clId="{D57016FC-CDD9-4668-B812-5F92D2815591}"/>
    <pc:docChg chg="addSld delSld modSld">
      <pc:chgData name="Erika Van Eck   Transnet Corporate   JHB" userId="4765e879-ec35-4d79-91a9-bb22d33e1d8f" providerId="ADAL" clId="{D57016FC-CDD9-4668-B812-5F92D2815591}" dt="2023-07-06T08:49:42.815" v="70" actId="47"/>
      <pc:docMkLst>
        <pc:docMk/>
      </pc:docMkLst>
      <pc:sldChg chg="modSp mod">
        <pc:chgData name="Erika Van Eck   Transnet Corporate   JHB" userId="4765e879-ec35-4d79-91a9-bb22d33e1d8f" providerId="ADAL" clId="{D57016FC-CDD9-4668-B812-5F92D2815591}" dt="2023-07-06T08:47:15.839" v="9" actId="20577"/>
        <pc:sldMkLst>
          <pc:docMk/>
          <pc:sldMk cId="2752881798" sldId="2167"/>
        </pc:sldMkLst>
        <pc:graphicFrameChg chg="modGraphic">
          <ac:chgData name="Erika Van Eck   Transnet Corporate   JHB" userId="4765e879-ec35-4d79-91a9-bb22d33e1d8f" providerId="ADAL" clId="{D57016FC-CDD9-4668-B812-5F92D2815591}" dt="2023-07-06T08:47:15.839" v="9" actId="20577"/>
          <ac:graphicFrameMkLst>
            <pc:docMk/>
            <pc:sldMk cId="2752881798" sldId="2167"/>
            <ac:graphicFrameMk id="4" creationId="{00000000-0000-0000-0000-000000000000}"/>
          </ac:graphicFrameMkLst>
        </pc:graphicFrameChg>
      </pc:sldChg>
      <pc:sldChg chg="modSp add del mod">
        <pc:chgData name="Erika Van Eck   Transnet Corporate   JHB" userId="4765e879-ec35-4d79-91a9-bb22d33e1d8f" providerId="ADAL" clId="{D57016FC-CDD9-4668-B812-5F92D2815591}" dt="2023-07-06T08:49:42.815" v="70" actId="47"/>
        <pc:sldMkLst>
          <pc:docMk/>
          <pc:sldMk cId="2580079216" sldId="2168"/>
        </pc:sldMkLst>
        <pc:spChg chg="mod">
          <ac:chgData name="Erika Van Eck   Transnet Corporate   JHB" userId="4765e879-ec35-4d79-91a9-bb22d33e1d8f" providerId="ADAL" clId="{D57016FC-CDD9-4668-B812-5F92D2815591}" dt="2023-07-06T08:48:12.742" v="17" actId="20577"/>
          <ac:spMkLst>
            <pc:docMk/>
            <pc:sldMk cId="2580079216" sldId="2168"/>
            <ac:spMk id="2" creationId="{00000000-0000-0000-0000-000000000000}"/>
          </ac:spMkLst>
        </pc:spChg>
        <pc:graphicFrameChg chg="modGraphic">
          <ac:chgData name="Erika Van Eck   Transnet Corporate   JHB" userId="4765e879-ec35-4d79-91a9-bb22d33e1d8f" providerId="ADAL" clId="{D57016FC-CDD9-4668-B812-5F92D2815591}" dt="2023-07-06T08:49:37.389" v="69" actId="20577"/>
          <ac:graphicFrameMkLst>
            <pc:docMk/>
            <pc:sldMk cId="2580079216" sldId="2168"/>
            <ac:graphicFrameMk id="4" creationId="{00000000-0000-0000-0000-000000000000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FD26062-7206-42FE-A191-BB5A3F24A2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410131-BC1B-4C83-BAA0-CD13BC2812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9E0EE-1DCB-4F30-B077-464F007E46A9}" type="datetimeFigureOut">
              <a:rPr lang="en-GB" smtClean="0"/>
              <a:t>27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B17F80-520F-4F97-9BFD-F218B23CB8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D9C2C7-6FAF-40EA-AAF4-3EFD6C389A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FBB4C9-A071-41E4-892E-F03D70EA8B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1256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CE7D0A-618D-469D-A0F6-7E10C3D47CE6}" type="datetimeFigureOut">
              <a:rPr lang="en-GB" smtClean="0"/>
              <a:t>27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43C31-A911-4174-806B-8AA6C10B7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644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311433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EDA1C25F-7D43-4095-A0B8-45700D5B151C}"/>
              </a:ext>
            </a:extLst>
          </p:cNvPr>
          <p:cNvSpPr/>
          <p:nvPr userDrawn="1"/>
        </p:nvSpPr>
        <p:spPr>
          <a:xfrm>
            <a:off x="8499929" y="4854262"/>
            <a:ext cx="3250324" cy="16944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332918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4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800" dirty="0"/>
              <a:t>Normal text here and here and here and here</a:t>
            </a:r>
            <a:endParaRPr lang="en-GB" sz="24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DE8A4C4-F89C-4196-9B13-39D203050D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136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941781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7" y="2085874"/>
            <a:ext cx="2995808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>
              <a:lnSpc>
                <a:spcPct val="100600"/>
              </a:lnSpc>
            </a:pPr>
            <a:endParaRPr lang="en-GB" sz="1600" dirty="0"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B7093058-1C72-42EE-AFD4-C6A337F2FC13}"/>
              </a:ext>
            </a:extLst>
          </p:cNvPr>
          <p:cNvSpPr/>
          <p:nvPr userDrawn="1"/>
        </p:nvSpPr>
        <p:spPr>
          <a:xfrm>
            <a:off x="8580474" y="3407791"/>
            <a:ext cx="3205788" cy="3090186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A53F04-AED7-452A-9F24-9297FB349A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216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726504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296723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 indent="-189904">
              <a:lnSpc>
                <a:spcPct val="100600"/>
              </a:lnSpc>
              <a:spcBef>
                <a:spcPts val="56"/>
              </a:spcBef>
            </a:pPr>
            <a:endParaRPr lang="en-GB" sz="1600" b="1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558145CC-D3BC-4C88-AA7C-565A0C5BCABE}"/>
              </a:ext>
            </a:extLst>
          </p:cNvPr>
          <p:cNvSpPr/>
          <p:nvPr userDrawn="1"/>
        </p:nvSpPr>
        <p:spPr>
          <a:xfrm>
            <a:off x="8189297" y="4958505"/>
            <a:ext cx="3821367" cy="15191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BB016E-539B-4F7E-9E4A-780487E1CE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180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3894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ON TWO LINES IF NECESSARY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83086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CUSTOM SLID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15899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89E258-1D79-4E25-B592-51F1147856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SLIDE TITLE GOES HERE</a:t>
            </a:r>
            <a:br>
              <a:rPr lang="en-US" dirty="0"/>
            </a:br>
            <a:r>
              <a:rPr lang="en-US" dirty="0"/>
              <a:t>ON TWO LINES IF NECESSARY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7644EA8-7028-42E5-833F-BAD05B8F4B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8328" y="1201381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9" name="object 11">
            <a:extLst>
              <a:ext uri="{FF2B5EF4-FFF2-40B4-BE49-F238E27FC236}">
                <a16:creationId xmlns:a16="http://schemas.microsoft.com/office/drawing/2014/main" id="{235ED689-9638-443C-9A10-E043942A6629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09721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BEC5ABC-23EE-084A-85FF-B2E1A9D42E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2000" cy="68577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168938-5473-7946-AFE1-2959A4E9E8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" y="242"/>
            <a:ext cx="12192000" cy="6857519"/>
          </a:xfrm>
          <a:prstGeom prst="rect">
            <a:avLst/>
          </a:prstGeom>
        </p:spPr>
      </p:pic>
      <p:sp>
        <p:nvSpPr>
          <p:cNvPr id="9" name="object 11">
            <a:extLst>
              <a:ext uri="{FF2B5EF4-FFF2-40B4-BE49-F238E27FC236}">
                <a16:creationId xmlns:a16="http://schemas.microsoft.com/office/drawing/2014/main" id="{B1AAE19E-3061-7C40-AEC4-9EE6CCAF43D1}"/>
              </a:ext>
            </a:extLst>
          </p:cNvPr>
          <p:cNvSpPr/>
          <p:nvPr userDrawn="1"/>
        </p:nvSpPr>
        <p:spPr>
          <a:xfrm>
            <a:off x="635835" y="3931064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6B080B6-7194-3240-93BB-D36E2458D1B4}"/>
              </a:ext>
            </a:extLst>
          </p:cNvPr>
          <p:cNvGrpSpPr/>
          <p:nvPr userDrawn="1"/>
        </p:nvGrpSpPr>
        <p:grpSpPr>
          <a:xfrm>
            <a:off x="8986233" y="473720"/>
            <a:ext cx="2774642" cy="1163669"/>
            <a:chOff x="14817924" y="781197"/>
            <a:chExt cx="4575269" cy="1918977"/>
          </a:xfrm>
        </p:grpSpPr>
        <p:sp>
          <p:nvSpPr>
            <p:cNvPr id="11" name="object 6">
              <a:extLst>
                <a:ext uri="{FF2B5EF4-FFF2-40B4-BE49-F238E27FC236}">
                  <a16:creationId xmlns:a16="http://schemas.microsoft.com/office/drawing/2014/main" id="{169C230C-9F59-7549-9F33-17FCEEC6130C}"/>
                </a:ext>
              </a:extLst>
            </p:cNvPr>
            <p:cNvSpPr/>
            <p:nvPr/>
          </p:nvSpPr>
          <p:spPr>
            <a:xfrm>
              <a:off x="14817924" y="2494651"/>
              <a:ext cx="87452" cy="154822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2" name="object 7">
              <a:extLst>
                <a:ext uri="{FF2B5EF4-FFF2-40B4-BE49-F238E27FC236}">
                  <a16:creationId xmlns:a16="http://schemas.microsoft.com/office/drawing/2014/main" id="{DB7958D2-2178-E447-BA2A-02431C505DCE}"/>
                </a:ext>
              </a:extLst>
            </p:cNvPr>
            <p:cNvSpPr/>
            <p:nvPr/>
          </p:nvSpPr>
          <p:spPr>
            <a:xfrm>
              <a:off x="14931724" y="2542744"/>
              <a:ext cx="85630" cy="106719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3" name="object 8">
              <a:extLst>
                <a:ext uri="{FF2B5EF4-FFF2-40B4-BE49-F238E27FC236}">
                  <a16:creationId xmlns:a16="http://schemas.microsoft.com/office/drawing/2014/main" id="{143BB172-2124-924D-9AAC-A275C6BF467B}"/>
                </a:ext>
              </a:extLst>
            </p:cNvPr>
            <p:cNvSpPr/>
            <p:nvPr/>
          </p:nvSpPr>
          <p:spPr>
            <a:xfrm>
              <a:off x="1509614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1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14" y="28417"/>
                  </a:lnTo>
                  <a:lnTo>
                    <a:pt x="28407" y="22104"/>
                  </a:lnTo>
                  <a:lnTo>
                    <a:pt x="28407" y="6272"/>
                  </a:lnTo>
                  <a:lnTo>
                    <a:pt x="2211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4" name="object 9">
              <a:extLst>
                <a:ext uri="{FF2B5EF4-FFF2-40B4-BE49-F238E27FC236}">
                  <a16:creationId xmlns:a16="http://schemas.microsoft.com/office/drawing/2014/main" id="{F2CAB43E-A109-B64A-A95C-3E99F34FADD0}"/>
                </a:ext>
              </a:extLst>
            </p:cNvPr>
            <p:cNvSpPr/>
            <p:nvPr/>
          </p:nvSpPr>
          <p:spPr>
            <a:xfrm>
              <a:off x="16034821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21" y="48082"/>
                  </a:lnTo>
                  <a:lnTo>
                    <a:pt x="3821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24" y="0"/>
                  </a:moveTo>
                  <a:lnTo>
                    <a:pt x="629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293" y="28417"/>
                  </a:lnTo>
                  <a:lnTo>
                    <a:pt x="22124" y="28417"/>
                  </a:lnTo>
                  <a:lnTo>
                    <a:pt x="28428" y="22104"/>
                  </a:lnTo>
                  <a:lnTo>
                    <a:pt x="28428" y="6272"/>
                  </a:lnTo>
                  <a:lnTo>
                    <a:pt x="221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5" name="object 10">
              <a:extLst>
                <a:ext uri="{FF2B5EF4-FFF2-40B4-BE49-F238E27FC236}">
                  <a16:creationId xmlns:a16="http://schemas.microsoft.com/office/drawing/2014/main" id="{FE861E66-55E8-824E-B63D-92F6BA1D3F82}"/>
                </a:ext>
              </a:extLst>
            </p:cNvPr>
            <p:cNvSpPr/>
            <p:nvPr/>
          </p:nvSpPr>
          <p:spPr>
            <a:xfrm>
              <a:off x="1667873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29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292" y="149524"/>
                  </a:lnTo>
                  <a:lnTo>
                    <a:pt x="24292" y="48082"/>
                  </a:lnTo>
                  <a:close/>
                </a:path>
                <a:path w="28575" h="149860">
                  <a:moveTo>
                    <a:pt x="2210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04" y="28417"/>
                  </a:lnTo>
                  <a:lnTo>
                    <a:pt x="28397" y="22104"/>
                  </a:lnTo>
                  <a:lnTo>
                    <a:pt x="28397" y="6272"/>
                  </a:lnTo>
                  <a:lnTo>
                    <a:pt x="221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6" name="object 11">
              <a:extLst>
                <a:ext uri="{FF2B5EF4-FFF2-40B4-BE49-F238E27FC236}">
                  <a16:creationId xmlns:a16="http://schemas.microsoft.com/office/drawing/2014/main" id="{89F2B1CD-283D-8D49-9031-F583EEDDBD20}"/>
                </a:ext>
              </a:extLst>
            </p:cNvPr>
            <p:cNvSpPr/>
            <p:nvPr/>
          </p:nvSpPr>
          <p:spPr>
            <a:xfrm>
              <a:off x="15443530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00" y="48082"/>
                  </a:lnTo>
                  <a:lnTo>
                    <a:pt x="380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35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35" y="28417"/>
                  </a:lnTo>
                  <a:lnTo>
                    <a:pt x="28417" y="22104"/>
                  </a:lnTo>
                  <a:lnTo>
                    <a:pt x="28417" y="6272"/>
                  </a:lnTo>
                  <a:lnTo>
                    <a:pt x="221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7" name="object 12">
              <a:extLst>
                <a:ext uri="{FF2B5EF4-FFF2-40B4-BE49-F238E27FC236}">
                  <a16:creationId xmlns:a16="http://schemas.microsoft.com/office/drawing/2014/main" id="{A3AEED8B-2455-654D-9D56-225360A26FB8}"/>
                </a:ext>
              </a:extLst>
            </p:cNvPr>
            <p:cNvSpPr/>
            <p:nvPr/>
          </p:nvSpPr>
          <p:spPr>
            <a:xfrm>
              <a:off x="15144446" y="2542744"/>
              <a:ext cx="192678" cy="106719"/>
            </a:xfrm>
            <a:prstGeom prst="rect">
              <a:avLst/>
            </a:pr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8" name="object 13">
              <a:extLst>
                <a:ext uri="{FF2B5EF4-FFF2-40B4-BE49-F238E27FC236}">
                  <a16:creationId xmlns:a16="http://schemas.microsoft.com/office/drawing/2014/main" id="{0096DAB9-5EDF-D345-80D2-021DDBE35D6C}"/>
                </a:ext>
              </a:extLst>
            </p:cNvPr>
            <p:cNvSpPr/>
            <p:nvPr/>
          </p:nvSpPr>
          <p:spPr>
            <a:xfrm>
              <a:off x="15363480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3999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878" y="104080"/>
                  </a:lnTo>
                  <a:lnTo>
                    <a:pt x="20878" y="24135"/>
                  </a:lnTo>
                  <a:lnTo>
                    <a:pt x="26794" y="21496"/>
                  </a:lnTo>
                  <a:lnTo>
                    <a:pt x="33674" y="19255"/>
                  </a:lnTo>
                  <a:lnTo>
                    <a:pt x="59443" y="19255"/>
                  </a:lnTo>
                  <a:lnTo>
                    <a:pt x="59443" y="8303"/>
                  </a:lnTo>
                  <a:lnTo>
                    <a:pt x="16020" y="8303"/>
                  </a:lnTo>
                  <a:lnTo>
                    <a:pt x="13999" y="2628"/>
                  </a:lnTo>
                  <a:close/>
                </a:path>
                <a:path w="59690" h="104139">
                  <a:moveTo>
                    <a:pt x="59443" y="19255"/>
                  </a:moveTo>
                  <a:lnTo>
                    <a:pt x="48501" y="19255"/>
                  </a:lnTo>
                  <a:lnTo>
                    <a:pt x="54364" y="20481"/>
                  </a:lnTo>
                  <a:lnTo>
                    <a:pt x="59443" y="22302"/>
                  </a:lnTo>
                  <a:lnTo>
                    <a:pt x="59443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2" y="527"/>
                  </a:lnTo>
                  <a:lnTo>
                    <a:pt x="29764" y="2098"/>
                  </a:lnTo>
                  <a:lnTo>
                    <a:pt x="22737" y="4695"/>
                  </a:lnTo>
                  <a:lnTo>
                    <a:pt x="16020" y="8303"/>
                  </a:lnTo>
                  <a:lnTo>
                    <a:pt x="59443" y="8303"/>
                  </a:lnTo>
                  <a:lnTo>
                    <a:pt x="59443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9" name="object 14">
              <a:extLst>
                <a:ext uri="{FF2B5EF4-FFF2-40B4-BE49-F238E27FC236}">
                  <a16:creationId xmlns:a16="http://schemas.microsoft.com/office/drawing/2014/main" id="{B3D66C4D-343E-C14C-BB14-19CD1BBF4D0B}"/>
                </a:ext>
              </a:extLst>
            </p:cNvPr>
            <p:cNvSpPr/>
            <p:nvPr/>
          </p:nvSpPr>
          <p:spPr>
            <a:xfrm>
              <a:off x="15501005" y="2542734"/>
              <a:ext cx="199600" cy="157440"/>
            </a:xfrm>
            <a:prstGeom prst="rect">
              <a:avLst/>
            </a:pr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0" name="object 15">
              <a:extLst>
                <a:ext uri="{FF2B5EF4-FFF2-40B4-BE49-F238E27FC236}">
                  <a16:creationId xmlns:a16="http://schemas.microsoft.com/office/drawing/2014/main" id="{DD1990A4-57AD-874B-8888-F8607CC666CD}"/>
                </a:ext>
              </a:extLst>
            </p:cNvPr>
            <p:cNvSpPr/>
            <p:nvPr/>
          </p:nvSpPr>
          <p:spPr>
            <a:xfrm>
              <a:off x="15844767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4020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920" y="104080"/>
                  </a:lnTo>
                  <a:lnTo>
                    <a:pt x="20920" y="24135"/>
                  </a:lnTo>
                  <a:lnTo>
                    <a:pt x="26774" y="21496"/>
                  </a:lnTo>
                  <a:lnTo>
                    <a:pt x="33695" y="19255"/>
                  </a:lnTo>
                  <a:lnTo>
                    <a:pt x="59464" y="19255"/>
                  </a:lnTo>
                  <a:lnTo>
                    <a:pt x="59464" y="8303"/>
                  </a:lnTo>
                  <a:lnTo>
                    <a:pt x="16041" y="8303"/>
                  </a:lnTo>
                  <a:lnTo>
                    <a:pt x="14020" y="2628"/>
                  </a:lnTo>
                  <a:close/>
                </a:path>
                <a:path w="59690" h="104139">
                  <a:moveTo>
                    <a:pt x="59464" y="19255"/>
                  </a:moveTo>
                  <a:lnTo>
                    <a:pt x="48501" y="19255"/>
                  </a:lnTo>
                  <a:lnTo>
                    <a:pt x="54385" y="20481"/>
                  </a:lnTo>
                  <a:lnTo>
                    <a:pt x="59464" y="22302"/>
                  </a:lnTo>
                  <a:lnTo>
                    <a:pt x="59464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5" y="527"/>
                  </a:lnTo>
                  <a:lnTo>
                    <a:pt x="29775" y="2098"/>
                  </a:lnTo>
                  <a:lnTo>
                    <a:pt x="22754" y="4695"/>
                  </a:lnTo>
                  <a:lnTo>
                    <a:pt x="16041" y="8303"/>
                  </a:lnTo>
                  <a:lnTo>
                    <a:pt x="59464" y="8303"/>
                  </a:lnTo>
                  <a:lnTo>
                    <a:pt x="59464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1" name="object 16">
              <a:extLst>
                <a:ext uri="{FF2B5EF4-FFF2-40B4-BE49-F238E27FC236}">
                  <a16:creationId xmlns:a16="http://schemas.microsoft.com/office/drawing/2014/main" id="{36FFF5F6-7CF5-ED4E-AF83-0836CA4137A0}"/>
                </a:ext>
              </a:extLst>
            </p:cNvPr>
            <p:cNvSpPr/>
            <p:nvPr/>
          </p:nvSpPr>
          <p:spPr>
            <a:xfrm>
              <a:off x="15924490" y="2542744"/>
              <a:ext cx="85630" cy="106719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id="{461B1837-6D25-F24D-9DCE-04A412752305}"/>
                </a:ext>
              </a:extLst>
            </p:cNvPr>
            <p:cNvSpPr/>
            <p:nvPr/>
          </p:nvSpPr>
          <p:spPr>
            <a:xfrm>
              <a:off x="16083729" y="2542734"/>
              <a:ext cx="98991" cy="157440"/>
            </a:xfrm>
            <a:prstGeom prst="rect">
              <a:avLst/>
            </a:pr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3" name="object 18">
              <a:extLst>
                <a:ext uri="{FF2B5EF4-FFF2-40B4-BE49-F238E27FC236}">
                  <a16:creationId xmlns:a16="http://schemas.microsoft.com/office/drawing/2014/main" id="{C3EA702A-F812-7F49-9722-8D11B7BF02BF}"/>
                </a:ext>
              </a:extLst>
            </p:cNvPr>
            <p:cNvSpPr/>
            <p:nvPr/>
          </p:nvSpPr>
          <p:spPr>
            <a:xfrm>
              <a:off x="16203392" y="2494664"/>
              <a:ext cx="81327" cy="152152"/>
            </a:xfrm>
            <a:prstGeom prst="rect">
              <a:avLst/>
            </a:pr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4" name="object 19">
              <a:extLst>
                <a:ext uri="{FF2B5EF4-FFF2-40B4-BE49-F238E27FC236}">
                  <a16:creationId xmlns:a16="http://schemas.microsoft.com/office/drawing/2014/main" id="{8345B4D4-DA77-1046-BF96-101762F72EE9}"/>
                </a:ext>
              </a:extLst>
            </p:cNvPr>
            <p:cNvSpPr/>
            <p:nvPr/>
          </p:nvSpPr>
          <p:spPr>
            <a:xfrm>
              <a:off x="16435528" y="2542744"/>
              <a:ext cx="162704" cy="106719"/>
            </a:xfrm>
            <a:prstGeom prst="rect">
              <a:avLst/>
            </a:pr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5" name="object 20">
              <a:extLst>
                <a:ext uri="{FF2B5EF4-FFF2-40B4-BE49-F238E27FC236}">
                  <a16:creationId xmlns:a16="http://schemas.microsoft.com/office/drawing/2014/main" id="{69F2EF62-B4D1-7440-BEC7-0136BC379191}"/>
                </a:ext>
              </a:extLst>
            </p:cNvPr>
            <p:cNvSpPr/>
            <p:nvPr/>
          </p:nvSpPr>
          <p:spPr>
            <a:xfrm>
              <a:off x="16733088" y="2542749"/>
              <a:ext cx="81128" cy="106708"/>
            </a:xfrm>
            <a:prstGeom prst="rect">
              <a:avLst/>
            </a:prstGeom>
            <a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6" name="object 21">
              <a:extLst>
                <a:ext uri="{FF2B5EF4-FFF2-40B4-BE49-F238E27FC236}">
                  <a16:creationId xmlns:a16="http://schemas.microsoft.com/office/drawing/2014/main" id="{909EF317-8C6B-B14D-A0A2-7DA6B3001CC9}"/>
                </a:ext>
              </a:extLst>
            </p:cNvPr>
            <p:cNvSpPr/>
            <p:nvPr/>
          </p:nvSpPr>
          <p:spPr>
            <a:xfrm>
              <a:off x="16842601" y="2494645"/>
              <a:ext cx="87442" cy="154801"/>
            </a:xfrm>
            <a:prstGeom prst="rect">
              <a:avLst/>
            </a:prstGeom>
            <a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7" name="object 22">
              <a:extLst>
                <a:ext uri="{FF2B5EF4-FFF2-40B4-BE49-F238E27FC236}">
                  <a16:creationId xmlns:a16="http://schemas.microsoft.com/office/drawing/2014/main" id="{75E8CB09-6577-8D47-8BD4-A59B3DDAFCE7}"/>
                </a:ext>
              </a:extLst>
            </p:cNvPr>
            <p:cNvSpPr/>
            <p:nvPr/>
          </p:nvSpPr>
          <p:spPr>
            <a:xfrm>
              <a:off x="17003059" y="2545373"/>
              <a:ext cx="94353" cy="152162"/>
            </a:xfrm>
            <a:prstGeom prst="rect">
              <a:avLst/>
            </a:prstGeom>
            <a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8" name="object 23">
              <a:extLst>
                <a:ext uri="{FF2B5EF4-FFF2-40B4-BE49-F238E27FC236}">
                  <a16:creationId xmlns:a16="http://schemas.microsoft.com/office/drawing/2014/main" id="{CC550E6A-918F-184F-B3B0-819C05F536E6}"/>
                </a:ext>
              </a:extLst>
            </p:cNvPr>
            <p:cNvSpPr/>
            <p:nvPr/>
          </p:nvSpPr>
          <p:spPr>
            <a:xfrm>
              <a:off x="15056164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49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9" name="object 24">
              <a:extLst>
                <a:ext uri="{FF2B5EF4-FFF2-40B4-BE49-F238E27FC236}">
                  <a16:creationId xmlns:a16="http://schemas.microsoft.com/office/drawing/2014/main" id="{92A529BD-BB5C-E448-8BE2-3CED29567242}"/>
                </a:ext>
              </a:extLst>
            </p:cNvPr>
            <p:cNvSpPr/>
            <p:nvPr/>
          </p:nvSpPr>
          <p:spPr>
            <a:xfrm>
              <a:off x="1663703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30" name="object 25">
              <a:extLst>
                <a:ext uri="{FF2B5EF4-FFF2-40B4-BE49-F238E27FC236}">
                  <a16:creationId xmlns:a16="http://schemas.microsoft.com/office/drawing/2014/main" id="{0CBDD186-1165-8543-83F2-3CDD2EA0C4DE}"/>
                </a:ext>
              </a:extLst>
            </p:cNvPr>
            <p:cNvSpPr/>
            <p:nvPr/>
          </p:nvSpPr>
          <p:spPr>
            <a:xfrm>
              <a:off x="1696889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0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31" name="object 26">
              <a:extLst>
                <a:ext uri="{FF2B5EF4-FFF2-40B4-BE49-F238E27FC236}">
                  <a16:creationId xmlns:a16="http://schemas.microsoft.com/office/drawing/2014/main" id="{16A8DDD6-2186-CE4D-8002-00A5E1C88E7A}"/>
                </a:ext>
              </a:extLst>
            </p:cNvPr>
            <p:cNvSpPr/>
            <p:nvPr/>
          </p:nvSpPr>
          <p:spPr>
            <a:xfrm>
              <a:off x="16312543" y="2512005"/>
              <a:ext cx="51435" cy="137795"/>
            </a:xfrm>
            <a:custGeom>
              <a:avLst/>
              <a:gdLst/>
              <a:ahLst/>
              <a:cxnLst/>
              <a:rect l="l" t="t" r="r" b="b"/>
              <a:pathLst>
                <a:path w="51434" h="137794">
                  <a:moveTo>
                    <a:pt x="20805" y="0"/>
                  </a:moveTo>
                  <a:lnTo>
                    <a:pt x="0" y="5758"/>
                  </a:lnTo>
                  <a:lnTo>
                    <a:pt x="0" y="108593"/>
                  </a:lnTo>
                  <a:lnTo>
                    <a:pt x="2937" y="121631"/>
                  </a:lnTo>
                  <a:lnTo>
                    <a:pt x="10667" y="130611"/>
                  </a:lnTo>
                  <a:lnTo>
                    <a:pt x="21565" y="135801"/>
                  </a:lnTo>
                  <a:lnTo>
                    <a:pt x="34009" y="137472"/>
                  </a:lnTo>
                  <a:lnTo>
                    <a:pt x="41852" y="137472"/>
                  </a:lnTo>
                  <a:lnTo>
                    <a:pt x="46982" y="136205"/>
                  </a:lnTo>
                  <a:lnTo>
                    <a:pt x="46982" y="117849"/>
                  </a:lnTo>
                  <a:lnTo>
                    <a:pt x="26585" y="117849"/>
                  </a:lnTo>
                  <a:lnTo>
                    <a:pt x="20805" y="115399"/>
                  </a:lnTo>
                  <a:lnTo>
                    <a:pt x="20805" y="49851"/>
                  </a:lnTo>
                  <a:lnTo>
                    <a:pt x="51317" y="49851"/>
                  </a:lnTo>
                  <a:lnTo>
                    <a:pt x="51317" y="31726"/>
                  </a:lnTo>
                  <a:lnTo>
                    <a:pt x="20805" y="31726"/>
                  </a:lnTo>
                  <a:lnTo>
                    <a:pt x="20805" y="0"/>
                  </a:lnTo>
                  <a:close/>
                </a:path>
                <a:path w="51434" h="137794">
                  <a:moveTo>
                    <a:pt x="46982" y="117054"/>
                  </a:moveTo>
                  <a:lnTo>
                    <a:pt x="44731" y="117462"/>
                  </a:lnTo>
                  <a:lnTo>
                    <a:pt x="39559" y="117849"/>
                  </a:lnTo>
                  <a:lnTo>
                    <a:pt x="46982" y="117849"/>
                  </a:lnTo>
                  <a:lnTo>
                    <a:pt x="46982" y="11705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32" name="object 27">
              <a:extLst>
                <a:ext uri="{FF2B5EF4-FFF2-40B4-BE49-F238E27FC236}">
                  <a16:creationId xmlns:a16="http://schemas.microsoft.com/office/drawing/2014/main" id="{BC635C2A-9778-BD49-8F33-237C75F007B7}"/>
                </a:ext>
              </a:extLst>
            </p:cNvPr>
            <p:cNvSpPr/>
            <p:nvPr/>
          </p:nvSpPr>
          <p:spPr>
            <a:xfrm>
              <a:off x="15771907" y="2491999"/>
              <a:ext cx="51435" cy="154940"/>
            </a:xfrm>
            <a:custGeom>
              <a:avLst/>
              <a:gdLst/>
              <a:ahLst/>
              <a:cxnLst/>
              <a:rect l="l" t="t" r="r" b="b"/>
              <a:pathLst>
                <a:path w="51434" h="154939">
                  <a:moveTo>
                    <a:pt x="41831" y="0"/>
                  </a:moveTo>
                  <a:lnTo>
                    <a:pt x="34030" y="0"/>
                  </a:lnTo>
                  <a:lnTo>
                    <a:pt x="21574" y="1670"/>
                  </a:lnTo>
                  <a:lnTo>
                    <a:pt x="10669" y="6861"/>
                  </a:lnTo>
                  <a:lnTo>
                    <a:pt x="2937" y="15840"/>
                  </a:lnTo>
                  <a:lnTo>
                    <a:pt x="0" y="28878"/>
                  </a:lnTo>
                  <a:lnTo>
                    <a:pt x="0" y="154812"/>
                  </a:lnTo>
                  <a:lnTo>
                    <a:pt x="20805" y="154812"/>
                  </a:lnTo>
                  <a:lnTo>
                    <a:pt x="20805" y="71505"/>
                  </a:lnTo>
                  <a:lnTo>
                    <a:pt x="51338" y="71505"/>
                  </a:lnTo>
                  <a:lnTo>
                    <a:pt x="51338" y="53380"/>
                  </a:lnTo>
                  <a:lnTo>
                    <a:pt x="20805" y="53380"/>
                  </a:lnTo>
                  <a:lnTo>
                    <a:pt x="20805" y="22072"/>
                  </a:lnTo>
                  <a:lnTo>
                    <a:pt x="26564" y="19601"/>
                  </a:lnTo>
                  <a:lnTo>
                    <a:pt x="46982" y="19601"/>
                  </a:lnTo>
                  <a:lnTo>
                    <a:pt x="46982" y="1246"/>
                  </a:lnTo>
                  <a:lnTo>
                    <a:pt x="41831" y="0"/>
                  </a:lnTo>
                  <a:close/>
                </a:path>
                <a:path w="51434" h="154939">
                  <a:moveTo>
                    <a:pt x="46982" y="19601"/>
                  </a:moveTo>
                  <a:lnTo>
                    <a:pt x="39569" y="19601"/>
                  </a:lnTo>
                  <a:lnTo>
                    <a:pt x="44721" y="20009"/>
                  </a:lnTo>
                  <a:lnTo>
                    <a:pt x="46982" y="20418"/>
                  </a:lnTo>
                  <a:lnTo>
                    <a:pt x="46982" y="196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33" name="object 28">
              <a:extLst>
                <a:ext uri="{FF2B5EF4-FFF2-40B4-BE49-F238E27FC236}">
                  <a16:creationId xmlns:a16="http://schemas.microsoft.com/office/drawing/2014/main" id="{5B3A08FA-0503-5646-A0D3-AB66FC6D4308}"/>
                </a:ext>
              </a:extLst>
            </p:cNvPr>
            <p:cNvSpPr/>
            <p:nvPr/>
          </p:nvSpPr>
          <p:spPr>
            <a:xfrm>
              <a:off x="17093362" y="1336135"/>
              <a:ext cx="612140" cy="353695"/>
            </a:xfrm>
            <a:custGeom>
              <a:avLst/>
              <a:gdLst/>
              <a:ahLst/>
              <a:cxnLst/>
              <a:rect l="l" t="t" r="r" b="b"/>
              <a:pathLst>
                <a:path w="612140" h="353694">
                  <a:moveTo>
                    <a:pt x="611656" y="0"/>
                  </a:moveTo>
                  <a:lnTo>
                    <a:pt x="0" y="20"/>
                  </a:lnTo>
                  <a:lnTo>
                    <a:pt x="203910" y="353162"/>
                  </a:lnTo>
                  <a:lnTo>
                    <a:pt x="407767" y="353162"/>
                  </a:lnTo>
                  <a:lnTo>
                    <a:pt x="611656" y="0"/>
                  </a:lnTo>
                  <a:close/>
                </a:path>
              </a:pathLst>
            </a:custGeom>
            <a:solidFill>
              <a:srgbClr val="85BD3E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34" name="object 29">
              <a:extLst>
                <a:ext uri="{FF2B5EF4-FFF2-40B4-BE49-F238E27FC236}">
                  <a16:creationId xmlns:a16="http://schemas.microsoft.com/office/drawing/2014/main" id="{F65C85DF-78C3-F744-8EE8-11D6EE3F25C6}"/>
                </a:ext>
              </a:extLst>
            </p:cNvPr>
            <p:cNvSpPr/>
            <p:nvPr/>
          </p:nvSpPr>
          <p:spPr>
            <a:xfrm>
              <a:off x="17471866" y="1336132"/>
              <a:ext cx="1165860" cy="1009650"/>
            </a:xfrm>
            <a:custGeom>
              <a:avLst/>
              <a:gdLst/>
              <a:ahLst/>
              <a:cxnLst/>
              <a:rect l="l" t="t" r="r" b="b"/>
              <a:pathLst>
                <a:path w="1165859" h="1009650">
                  <a:moveTo>
                    <a:pt x="961363" y="0"/>
                  </a:moveTo>
                  <a:lnTo>
                    <a:pt x="378805" y="41"/>
                  </a:lnTo>
                  <a:lnTo>
                    <a:pt x="0" y="655665"/>
                  </a:lnTo>
                  <a:lnTo>
                    <a:pt x="204046" y="1009026"/>
                  </a:lnTo>
                  <a:lnTo>
                    <a:pt x="582683" y="353162"/>
                  </a:lnTo>
                  <a:lnTo>
                    <a:pt x="1165388" y="353162"/>
                  </a:lnTo>
                  <a:lnTo>
                    <a:pt x="961363" y="0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35" name="object 30">
              <a:extLst>
                <a:ext uri="{FF2B5EF4-FFF2-40B4-BE49-F238E27FC236}">
                  <a16:creationId xmlns:a16="http://schemas.microsoft.com/office/drawing/2014/main" id="{77F7442E-53C4-9D45-A05C-C62843C79C6F}"/>
                </a:ext>
              </a:extLst>
            </p:cNvPr>
            <p:cNvSpPr/>
            <p:nvPr/>
          </p:nvSpPr>
          <p:spPr>
            <a:xfrm>
              <a:off x="17602493" y="781197"/>
              <a:ext cx="1790700" cy="201930"/>
            </a:xfrm>
            <a:custGeom>
              <a:avLst/>
              <a:gdLst/>
              <a:ahLst/>
              <a:cxnLst/>
              <a:rect l="l" t="t" r="r" b="b"/>
              <a:pathLst>
                <a:path w="1790700" h="201930">
                  <a:moveTo>
                    <a:pt x="328136" y="0"/>
                  </a:moveTo>
                  <a:lnTo>
                    <a:pt x="208370" y="0"/>
                  </a:lnTo>
                  <a:lnTo>
                    <a:pt x="208370" y="201784"/>
                  </a:lnTo>
                  <a:lnTo>
                    <a:pt x="258829" y="201784"/>
                  </a:lnTo>
                  <a:lnTo>
                    <a:pt x="258829" y="122991"/>
                  </a:lnTo>
                  <a:lnTo>
                    <a:pt x="364700" y="122991"/>
                  </a:lnTo>
                  <a:lnTo>
                    <a:pt x="359287" y="113609"/>
                  </a:lnTo>
                  <a:lnTo>
                    <a:pt x="369823" y="104711"/>
                  </a:lnTo>
                  <a:lnTo>
                    <a:pt x="377924" y="93525"/>
                  </a:lnTo>
                  <a:lnTo>
                    <a:pt x="383125" y="80510"/>
                  </a:lnTo>
                  <a:lnTo>
                    <a:pt x="383340" y="78824"/>
                  </a:lnTo>
                  <a:lnTo>
                    <a:pt x="258829" y="78824"/>
                  </a:lnTo>
                  <a:lnTo>
                    <a:pt x="258829" y="44145"/>
                  </a:lnTo>
                  <a:lnTo>
                    <a:pt x="382315" y="44145"/>
                  </a:lnTo>
                  <a:lnTo>
                    <a:pt x="380421" y="34716"/>
                  </a:lnTo>
                  <a:lnTo>
                    <a:pt x="368281" y="16647"/>
                  </a:lnTo>
                  <a:lnTo>
                    <a:pt x="350253" y="4466"/>
                  </a:lnTo>
                  <a:lnTo>
                    <a:pt x="328136" y="0"/>
                  </a:lnTo>
                  <a:close/>
                </a:path>
                <a:path w="1790700" h="201930">
                  <a:moveTo>
                    <a:pt x="364700" y="122991"/>
                  </a:moveTo>
                  <a:lnTo>
                    <a:pt x="313498" y="122991"/>
                  </a:lnTo>
                  <a:lnTo>
                    <a:pt x="358994" y="201784"/>
                  </a:lnTo>
                  <a:lnTo>
                    <a:pt x="410165" y="201784"/>
                  </a:lnTo>
                  <a:lnTo>
                    <a:pt x="364700" y="122991"/>
                  </a:lnTo>
                  <a:close/>
                </a:path>
                <a:path w="1790700" h="201930">
                  <a:moveTo>
                    <a:pt x="566139" y="0"/>
                  </a:moveTo>
                  <a:lnTo>
                    <a:pt x="512445" y="0"/>
                  </a:lnTo>
                  <a:lnTo>
                    <a:pt x="410165" y="201784"/>
                  </a:lnTo>
                  <a:lnTo>
                    <a:pt x="463849" y="201784"/>
                  </a:lnTo>
                  <a:lnTo>
                    <a:pt x="489398" y="151346"/>
                  </a:lnTo>
                  <a:lnTo>
                    <a:pt x="642861" y="151346"/>
                  </a:lnTo>
                  <a:lnTo>
                    <a:pt x="620472" y="107179"/>
                  </a:lnTo>
                  <a:lnTo>
                    <a:pt x="511785" y="107179"/>
                  </a:lnTo>
                  <a:lnTo>
                    <a:pt x="539282" y="52898"/>
                  </a:lnTo>
                  <a:lnTo>
                    <a:pt x="592955" y="52898"/>
                  </a:lnTo>
                  <a:lnTo>
                    <a:pt x="566139" y="0"/>
                  </a:lnTo>
                  <a:close/>
                </a:path>
                <a:path w="1790700" h="201930">
                  <a:moveTo>
                    <a:pt x="642861" y="151346"/>
                  </a:moveTo>
                  <a:lnTo>
                    <a:pt x="589186" y="151346"/>
                  </a:lnTo>
                  <a:lnTo>
                    <a:pt x="614756" y="201784"/>
                  </a:lnTo>
                  <a:lnTo>
                    <a:pt x="668429" y="201784"/>
                  </a:lnTo>
                  <a:lnTo>
                    <a:pt x="642861" y="151346"/>
                  </a:lnTo>
                  <a:close/>
                </a:path>
                <a:path w="1790700" h="201930">
                  <a:moveTo>
                    <a:pt x="592955" y="52898"/>
                  </a:moveTo>
                  <a:lnTo>
                    <a:pt x="539282" y="52898"/>
                  </a:lnTo>
                  <a:lnTo>
                    <a:pt x="566799" y="107179"/>
                  </a:lnTo>
                  <a:lnTo>
                    <a:pt x="620472" y="107179"/>
                  </a:lnTo>
                  <a:lnTo>
                    <a:pt x="592955" y="52898"/>
                  </a:lnTo>
                  <a:close/>
                </a:path>
                <a:path w="1790700" h="201930">
                  <a:moveTo>
                    <a:pt x="382315" y="44145"/>
                  </a:moveTo>
                  <a:lnTo>
                    <a:pt x="328817" y="44145"/>
                  </a:lnTo>
                  <a:lnTo>
                    <a:pt x="334492" y="49851"/>
                  </a:lnTo>
                  <a:lnTo>
                    <a:pt x="334618" y="73149"/>
                  </a:lnTo>
                  <a:lnTo>
                    <a:pt x="328911" y="78824"/>
                  </a:lnTo>
                  <a:lnTo>
                    <a:pt x="383340" y="78824"/>
                  </a:lnTo>
                  <a:lnTo>
                    <a:pt x="384962" y="66123"/>
                  </a:lnTo>
                  <a:lnTo>
                    <a:pt x="384867" y="56846"/>
                  </a:lnTo>
                  <a:lnTo>
                    <a:pt x="382315" y="44145"/>
                  </a:lnTo>
                  <a:close/>
                </a:path>
                <a:path w="1790700" h="201930">
                  <a:moveTo>
                    <a:pt x="1582820" y="0"/>
                  </a:moveTo>
                  <a:lnTo>
                    <a:pt x="1418888" y="0"/>
                  </a:lnTo>
                  <a:lnTo>
                    <a:pt x="1418888" y="201784"/>
                  </a:lnTo>
                  <a:lnTo>
                    <a:pt x="1582820" y="201784"/>
                  </a:lnTo>
                  <a:lnTo>
                    <a:pt x="1582820" y="157618"/>
                  </a:lnTo>
                  <a:lnTo>
                    <a:pt x="1469295" y="157618"/>
                  </a:lnTo>
                  <a:lnTo>
                    <a:pt x="1469295" y="122970"/>
                  </a:lnTo>
                  <a:lnTo>
                    <a:pt x="1576548" y="122970"/>
                  </a:lnTo>
                  <a:lnTo>
                    <a:pt x="1576548" y="78803"/>
                  </a:lnTo>
                  <a:lnTo>
                    <a:pt x="1469295" y="78803"/>
                  </a:lnTo>
                  <a:lnTo>
                    <a:pt x="1469295" y="44134"/>
                  </a:lnTo>
                  <a:lnTo>
                    <a:pt x="1582820" y="44134"/>
                  </a:lnTo>
                  <a:lnTo>
                    <a:pt x="1582820" y="0"/>
                  </a:lnTo>
                  <a:close/>
                </a:path>
                <a:path w="1790700" h="201930">
                  <a:moveTo>
                    <a:pt x="955436" y="150529"/>
                  </a:moveTo>
                  <a:lnTo>
                    <a:pt x="933301" y="188800"/>
                  </a:lnTo>
                  <a:lnTo>
                    <a:pt x="946596" y="194124"/>
                  </a:lnTo>
                  <a:lnTo>
                    <a:pt x="960510" y="198071"/>
                  </a:lnTo>
                  <a:lnTo>
                    <a:pt x="974981" y="200531"/>
                  </a:lnTo>
                  <a:lnTo>
                    <a:pt x="989948" y="201397"/>
                  </a:lnTo>
                  <a:lnTo>
                    <a:pt x="1065496" y="201376"/>
                  </a:lnTo>
                  <a:lnTo>
                    <a:pt x="1087569" y="196917"/>
                  </a:lnTo>
                  <a:lnTo>
                    <a:pt x="1105565" y="184757"/>
                  </a:lnTo>
                  <a:lnTo>
                    <a:pt x="1117683" y="166721"/>
                  </a:lnTo>
                  <a:lnTo>
                    <a:pt x="1119570" y="157335"/>
                  </a:lnTo>
                  <a:lnTo>
                    <a:pt x="989948" y="157335"/>
                  </a:lnTo>
                  <a:lnTo>
                    <a:pt x="980897" y="156875"/>
                  </a:lnTo>
                  <a:lnTo>
                    <a:pt x="972092" y="155558"/>
                  </a:lnTo>
                  <a:lnTo>
                    <a:pt x="963587" y="153427"/>
                  </a:lnTo>
                  <a:lnTo>
                    <a:pt x="955436" y="150529"/>
                  </a:lnTo>
                  <a:close/>
                </a:path>
                <a:path w="1790700" h="201930">
                  <a:moveTo>
                    <a:pt x="1065464" y="0"/>
                  </a:moveTo>
                  <a:lnTo>
                    <a:pt x="989948" y="0"/>
                  </a:lnTo>
                  <a:lnTo>
                    <a:pt x="967867" y="4455"/>
                  </a:lnTo>
                  <a:lnTo>
                    <a:pt x="949865" y="16610"/>
                  </a:lnTo>
                  <a:lnTo>
                    <a:pt x="937742" y="34645"/>
                  </a:lnTo>
                  <a:lnTo>
                    <a:pt x="933301" y="56741"/>
                  </a:lnTo>
                  <a:lnTo>
                    <a:pt x="933301" y="65966"/>
                  </a:lnTo>
                  <a:lnTo>
                    <a:pt x="937742" y="88065"/>
                  </a:lnTo>
                  <a:lnTo>
                    <a:pt x="949865" y="106108"/>
                  </a:lnTo>
                  <a:lnTo>
                    <a:pt x="967867" y="118270"/>
                  </a:lnTo>
                  <a:lnTo>
                    <a:pt x="989948" y="122729"/>
                  </a:lnTo>
                  <a:lnTo>
                    <a:pt x="1066176" y="122729"/>
                  </a:lnTo>
                  <a:lnTo>
                    <a:pt x="1071852" y="128393"/>
                  </a:lnTo>
                  <a:lnTo>
                    <a:pt x="1071852" y="151628"/>
                  </a:lnTo>
                  <a:lnTo>
                    <a:pt x="1066176" y="157314"/>
                  </a:lnTo>
                  <a:lnTo>
                    <a:pt x="989948" y="157335"/>
                  </a:lnTo>
                  <a:lnTo>
                    <a:pt x="1119570" y="157335"/>
                  </a:lnTo>
                  <a:lnTo>
                    <a:pt x="1122122" y="144634"/>
                  </a:lnTo>
                  <a:lnTo>
                    <a:pt x="1122122" y="135388"/>
                  </a:lnTo>
                  <a:lnTo>
                    <a:pt x="1117683" y="113313"/>
                  </a:lnTo>
                  <a:lnTo>
                    <a:pt x="1105565" y="95283"/>
                  </a:lnTo>
                  <a:lnTo>
                    <a:pt x="1087569" y="83126"/>
                  </a:lnTo>
                  <a:lnTo>
                    <a:pt x="1065496" y="78667"/>
                  </a:lnTo>
                  <a:lnTo>
                    <a:pt x="989247" y="78667"/>
                  </a:lnTo>
                  <a:lnTo>
                    <a:pt x="983551" y="72992"/>
                  </a:lnTo>
                  <a:lnTo>
                    <a:pt x="983551" y="49736"/>
                  </a:lnTo>
                  <a:lnTo>
                    <a:pt x="989247" y="44061"/>
                  </a:lnTo>
                  <a:lnTo>
                    <a:pt x="1096919" y="44061"/>
                  </a:lnTo>
                  <a:lnTo>
                    <a:pt x="1096919" y="3120"/>
                  </a:lnTo>
                  <a:lnTo>
                    <a:pt x="1089567" y="1744"/>
                  </a:lnTo>
                  <a:lnTo>
                    <a:pt x="1081738" y="770"/>
                  </a:lnTo>
                  <a:lnTo>
                    <a:pt x="1073635" y="191"/>
                  </a:lnTo>
                  <a:lnTo>
                    <a:pt x="1065464" y="0"/>
                  </a:lnTo>
                  <a:close/>
                </a:path>
                <a:path w="1790700" h="201930">
                  <a:moveTo>
                    <a:pt x="1096919" y="44061"/>
                  </a:moveTo>
                  <a:lnTo>
                    <a:pt x="1065464" y="44061"/>
                  </a:lnTo>
                  <a:lnTo>
                    <a:pt x="1072436" y="44315"/>
                  </a:lnTo>
                  <a:lnTo>
                    <a:pt x="1081957" y="44998"/>
                  </a:lnTo>
                  <a:lnTo>
                    <a:pt x="1091096" y="45996"/>
                  </a:lnTo>
                  <a:lnTo>
                    <a:pt x="1096919" y="47192"/>
                  </a:lnTo>
                  <a:lnTo>
                    <a:pt x="1096919" y="44061"/>
                  </a:lnTo>
                  <a:close/>
                </a:path>
                <a:path w="1790700" h="201930">
                  <a:moveTo>
                    <a:pt x="1639614" y="0"/>
                  </a:moveTo>
                  <a:lnTo>
                    <a:pt x="1639614" y="201784"/>
                  </a:lnTo>
                  <a:lnTo>
                    <a:pt x="1690074" y="201784"/>
                  </a:lnTo>
                  <a:lnTo>
                    <a:pt x="1690074" y="44145"/>
                  </a:lnTo>
                  <a:lnTo>
                    <a:pt x="1765150" y="44145"/>
                  </a:lnTo>
                  <a:lnTo>
                    <a:pt x="1790667" y="31"/>
                  </a:lnTo>
                  <a:lnTo>
                    <a:pt x="1639614" y="0"/>
                  </a:lnTo>
                  <a:close/>
                </a:path>
                <a:path w="1790700" h="201930">
                  <a:moveTo>
                    <a:pt x="1217093" y="0"/>
                  </a:moveTo>
                  <a:lnTo>
                    <a:pt x="1160341" y="0"/>
                  </a:lnTo>
                  <a:lnTo>
                    <a:pt x="1160341" y="201784"/>
                  </a:lnTo>
                  <a:lnTo>
                    <a:pt x="1210758" y="201784"/>
                  </a:lnTo>
                  <a:lnTo>
                    <a:pt x="1210758" y="69589"/>
                  </a:lnTo>
                  <a:lnTo>
                    <a:pt x="1266900" y="69589"/>
                  </a:lnTo>
                  <a:lnTo>
                    <a:pt x="1217093" y="0"/>
                  </a:lnTo>
                  <a:close/>
                </a:path>
                <a:path w="1790700" h="201930">
                  <a:moveTo>
                    <a:pt x="1266900" y="69589"/>
                  </a:moveTo>
                  <a:lnTo>
                    <a:pt x="1210758" y="69589"/>
                  </a:lnTo>
                  <a:lnTo>
                    <a:pt x="1305363" y="201784"/>
                  </a:lnTo>
                  <a:lnTo>
                    <a:pt x="1362136" y="201784"/>
                  </a:lnTo>
                  <a:lnTo>
                    <a:pt x="1362136" y="132194"/>
                  </a:lnTo>
                  <a:lnTo>
                    <a:pt x="1311708" y="132194"/>
                  </a:lnTo>
                  <a:lnTo>
                    <a:pt x="1266900" y="69589"/>
                  </a:lnTo>
                  <a:close/>
                </a:path>
                <a:path w="1790700" h="201930">
                  <a:moveTo>
                    <a:pt x="1362136" y="188"/>
                  </a:moveTo>
                  <a:lnTo>
                    <a:pt x="1311708" y="188"/>
                  </a:lnTo>
                  <a:lnTo>
                    <a:pt x="1311708" y="132194"/>
                  </a:lnTo>
                  <a:lnTo>
                    <a:pt x="1362136" y="132194"/>
                  </a:lnTo>
                  <a:lnTo>
                    <a:pt x="1362136" y="188"/>
                  </a:lnTo>
                  <a:close/>
                </a:path>
                <a:path w="1790700" h="201930">
                  <a:moveTo>
                    <a:pt x="151607" y="44145"/>
                  </a:moveTo>
                  <a:lnTo>
                    <a:pt x="101138" y="44145"/>
                  </a:lnTo>
                  <a:lnTo>
                    <a:pt x="101138" y="201784"/>
                  </a:lnTo>
                  <a:lnTo>
                    <a:pt x="151607" y="201784"/>
                  </a:lnTo>
                  <a:lnTo>
                    <a:pt x="151607" y="44145"/>
                  </a:lnTo>
                  <a:close/>
                </a:path>
                <a:path w="1790700" h="201930">
                  <a:moveTo>
                    <a:pt x="151607" y="0"/>
                  </a:moveTo>
                  <a:lnTo>
                    <a:pt x="0" y="31"/>
                  </a:lnTo>
                  <a:lnTo>
                    <a:pt x="25496" y="44166"/>
                  </a:lnTo>
                  <a:lnTo>
                    <a:pt x="151607" y="44145"/>
                  </a:lnTo>
                  <a:lnTo>
                    <a:pt x="151607" y="0"/>
                  </a:lnTo>
                  <a:close/>
                </a:path>
                <a:path w="1790700" h="201930">
                  <a:moveTo>
                    <a:pt x="744092" y="0"/>
                  </a:moveTo>
                  <a:lnTo>
                    <a:pt x="687350" y="0"/>
                  </a:lnTo>
                  <a:lnTo>
                    <a:pt x="687350" y="201784"/>
                  </a:lnTo>
                  <a:lnTo>
                    <a:pt x="737768" y="201784"/>
                  </a:lnTo>
                  <a:lnTo>
                    <a:pt x="737768" y="69589"/>
                  </a:lnTo>
                  <a:lnTo>
                    <a:pt x="793893" y="69589"/>
                  </a:lnTo>
                  <a:lnTo>
                    <a:pt x="744092" y="0"/>
                  </a:lnTo>
                  <a:close/>
                </a:path>
                <a:path w="1790700" h="201930">
                  <a:moveTo>
                    <a:pt x="793893" y="69589"/>
                  </a:moveTo>
                  <a:lnTo>
                    <a:pt x="737768" y="69589"/>
                  </a:lnTo>
                  <a:lnTo>
                    <a:pt x="832372" y="201784"/>
                  </a:lnTo>
                  <a:lnTo>
                    <a:pt x="889145" y="201784"/>
                  </a:lnTo>
                  <a:lnTo>
                    <a:pt x="889145" y="132194"/>
                  </a:lnTo>
                  <a:lnTo>
                    <a:pt x="838696" y="132194"/>
                  </a:lnTo>
                  <a:lnTo>
                    <a:pt x="793893" y="69589"/>
                  </a:lnTo>
                  <a:close/>
                </a:path>
                <a:path w="1790700" h="201930">
                  <a:moveTo>
                    <a:pt x="889145" y="188"/>
                  </a:moveTo>
                  <a:lnTo>
                    <a:pt x="838696" y="188"/>
                  </a:lnTo>
                  <a:lnTo>
                    <a:pt x="838696" y="132194"/>
                  </a:lnTo>
                  <a:lnTo>
                    <a:pt x="889145" y="132194"/>
                  </a:lnTo>
                  <a:lnTo>
                    <a:pt x="889145" y="188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</p:grp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456D8E82-4B17-8A44-A98F-D28F51A811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84575" y="4113726"/>
            <a:ext cx="7012180" cy="11033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320" b="1" i="0">
                <a:solidFill>
                  <a:schemeClr val="bg1"/>
                </a:solidFill>
                <a:latin typeface="Tahoma Regular"/>
              </a:defRPr>
            </a:lvl1pPr>
          </a:lstStyle>
          <a:p>
            <a:pPr lvl="0"/>
            <a:r>
              <a:rPr lang="en-US" dirty="0"/>
              <a:t>DIVIDER TITLE GOES HERE</a:t>
            </a:r>
          </a:p>
          <a:p>
            <a:pPr lvl="0"/>
            <a:r>
              <a:rPr lang="en-US" dirty="0"/>
              <a:t>ON TWO LINES IF NECESSARY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273F8075-A63D-2243-8DDD-A3E491BD42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84371" y="5217038"/>
            <a:ext cx="6248013" cy="1518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="0" i="0">
                <a:solidFill>
                  <a:schemeClr val="bg1"/>
                </a:solidFill>
                <a:latin typeface="Tahoma Regular"/>
              </a:defRPr>
            </a:lvl1pPr>
            <a:lvl2pPr marL="446410" indent="0">
              <a:buNone/>
              <a:defRPr>
                <a:solidFill>
                  <a:schemeClr val="bg1"/>
                </a:solidFill>
              </a:defRPr>
            </a:lvl2pPr>
            <a:lvl3pPr marL="892820" indent="0">
              <a:buNone/>
              <a:defRPr>
                <a:solidFill>
                  <a:schemeClr val="bg1"/>
                </a:solidFill>
              </a:defRPr>
            </a:lvl3pPr>
            <a:lvl4pPr marL="1339230" indent="0">
              <a:buNone/>
              <a:defRPr>
                <a:solidFill>
                  <a:schemeClr val="bg1"/>
                </a:solidFill>
              </a:defRPr>
            </a:lvl4pPr>
            <a:lvl5pPr marL="1785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o:</a:t>
            </a:r>
          </a:p>
          <a:p>
            <a:pPr lvl="0"/>
            <a:r>
              <a:rPr lang="en-US" dirty="0"/>
              <a:t>Company name goes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2020/00/00</a:t>
            </a:r>
          </a:p>
        </p:txBody>
      </p:sp>
    </p:spTree>
    <p:extLst>
      <p:ext uri="{BB962C8B-B14F-4D97-AF65-F5344CB8AC3E}">
        <p14:creationId xmlns:p14="http://schemas.microsoft.com/office/powerpoint/2010/main" val="10431409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499" y="152915"/>
            <a:ext cx="10068389" cy="72010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7499" y="1200482"/>
            <a:ext cx="10971067" cy="52996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675172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9554423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1" imgH="420" progId="TCLayout.ActiveDocument.1">
                  <p:embed/>
                </p:oleObj>
              </mc:Choice>
              <mc:Fallback>
                <p:oleObj name="think-cell Slide" r:id="rId12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9EF7B10-469F-4AF6-AFFA-216C82D8E352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i="0" baseline="0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8755" y="276058"/>
            <a:ext cx="10457775" cy="7201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SLID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8329" y="1200483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43786" y="62927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tx1">
                  <a:lumMod val="50000"/>
                  <a:lumOff val="50000"/>
                </a:schemeClr>
              </a:solidFill>
              <a:latin typeface="Tahoma"/>
            </a:endParaRPr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C94C95BE-8722-4D8D-93E0-75343B78F809}"/>
              </a:ext>
            </a:extLst>
          </p:cNvPr>
          <p:cNvSpPr/>
          <p:nvPr userDrawn="1"/>
        </p:nvSpPr>
        <p:spPr>
          <a:xfrm>
            <a:off x="568328" y="1121575"/>
            <a:ext cx="11055343" cy="45719"/>
          </a:xfrm>
          <a:custGeom>
            <a:avLst/>
            <a:gdLst/>
            <a:ahLst/>
            <a:cxnLst/>
            <a:rect l="l" t="t" r="r" b="b"/>
            <a:pathLst>
              <a:path w="18230215">
                <a:moveTo>
                  <a:pt x="0" y="0"/>
                </a:moveTo>
                <a:lnTo>
                  <a:pt x="18229780" y="0"/>
                </a:lnTo>
              </a:path>
            </a:pathLst>
          </a:custGeom>
          <a:ln w="20941">
            <a:solidFill>
              <a:srgbClr val="8B8E91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8828F517-37FB-4E03-B217-C275D9590891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0567A0-C0A7-4B1B-AE7B-212F10FDF1C1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125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02" r:id="rId2"/>
    <p:sldLayoutId id="2147483701" r:id="rId3"/>
    <p:sldLayoutId id="2147483673" r:id="rId4"/>
    <p:sldLayoutId id="2147483695" r:id="rId5"/>
    <p:sldLayoutId id="2147483705" r:id="rId6"/>
    <p:sldLayoutId id="2147483715" r:id="rId7"/>
    <p:sldLayoutId id="2147483716" r:id="rId8"/>
  </p:sldLayoutIdLst>
  <p:hf hdr="0" ftr="0" dt="0"/>
  <p:txStyles>
    <p:titleStyle>
      <a:lvl1pPr algn="l" defTabSz="779173" rtl="0" eaLnBrk="1" latinLnBrk="0" hangingPunct="1">
        <a:spcBef>
          <a:spcPct val="0"/>
        </a:spcBef>
        <a:buNone/>
        <a:defRPr sz="2800" b="1" kern="1200" cap="none" spc="0" baseline="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779173" rtl="0" eaLnBrk="1" latinLnBrk="0" hangingPunct="1">
        <a:lnSpc>
          <a:spcPct val="110000"/>
        </a:lnSpc>
        <a:spcBef>
          <a:spcPts val="1023"/>
        </a:spcBef>
        <a:spcAft>
          <a:spcPts val="341"/>
        </a:spcAft>
        <a:buFont typeface="Arial" pitchFamily="34" charset="0"/>
        <a:buNone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28612" indent="-142037" algn="l" defTabSz="779173" rtl="0" eaLnBrk="1" latinLnBrk="0" hangingPunct="1">
        <a:lnSpc>
          <a:spcPct val="110000"/>
        </a:lnSpc>
        <a:spcBef>
          <a:spcPts val="171"/>
        </a:spcBef>
        <a:spcAft>
          <a:spcPts val="171"/>
        </a:spcAft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531623" indent="-160976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›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764293" indent="-155565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1078126" indent="-156917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orient="horz" pos="2432" userDrawn="1">
          <p15:clr>
            <a:srgbClr val="F26B43"/>
          </p15:clr>
        </p15:guide>
        <p15:guide id="7" orient="horz" pos="70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D48B49-B862-45C6-BFCD-064FEF9AC8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ZA" sz="3600" kern="0" spc="10" dirty="0"/>
              <a:t>Insurance RFP</a:t>
            </a:r>
          </a:p>
          <a:p>
            <a:r>
              <a:rPr lang="en-GB" dirty="0"/>
              <a:t>Information on Portfolio 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D826CF-5ADC-4C79-A8A7-593A5964C3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7521">
              <a:spcBef>
                <a:spcPts val="56"/>
              </a:spcBef>
            </a:pPr>
            <a:endParaRPr lang="en-GB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521">
              <a:spcBef>
                <a:spcPts val="1951"/>
              </a:spcBef>
            </a:pPr>
            <a:r>
              <a:rPr lang="en-GB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3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96019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699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rtfolio A consists of: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556" y="2109937"/>
            <a:ext cx="4635613" cy="3232084"/>
          </a:xfrm>
        </p:spPr>
        <p:txBody>
          <a:bodyPr/>
          <a:lstStyle/>
          <a:p>
            <a:pPr algn="r"/>
            <a:r>
              <a:rPr lang="en-US" sz="2000" b="1" dirty="0"/>
              <a:t>	Business Travel</a:t>
            </a:r>
          </a:p>
          <a:p>
            <a:pPr algn="r"/>
            <a:r>
              <a:rPr lang="en-US" sz="2000" b="1" dirty="0"/>
              <a:t>	Group Personal Accident</a:t>
            </a:r>
          </a:p>
          <a:p>
            <a:pPr algn="r"/>
            <a:r>
              <a:rPr lang="en-US" sz="2000" b="1" dirty="0"/>
              <a:t>	Funeral Benefit Scheme</a:t>
            </a:r>
          </a:p>
          <a:p>
            <a:pPr algn="r"/>
            <a:r>
              <a:rPr lang="en-US" sz="2000" b="1" dirty="0"/>
              <a:t>	Trustees Indemnity Insurance</a:t>
            </a:r>
            <a:endParaRPr lang="en-ZA" sz="2000" b="1" dirty="0"/>
          </a:p>
        </p:txBody>
      </p:sp>
    </p:spTree>
    <p:extLst>
      <p:ext uri="{BB962C8B-B14F-4D97-AF65-F5344CB8AC3E}">
        <p14:creationId xmlns:p14="http://schemas.microsoft.com/office/powerpoint/2010/main" val="27146122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8009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mits of Liability</a:t>
            </a:r>
            <a:endParaRPr lang="en-ZA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7496632"/>
              </p:ext>
            </p:extLst>
          </p:nvPr>
        </p:nvGraphicFramePr>
        <p:xfrm>
          <a:off x="1829856" y="1459610"/>
          <a:ext cx="7748801" cy="4172292"/>
        </p:xfrm>
        <a:graphic>
          <a:graphicData uri="http://schemas.openxmlformats.org/drawingml/2006/table">
            <a:tbl>
              <a:tblPr firstRow="1" firstCol="1" bandRow="1">
                <a:tableStyleId>{912C8C85-51F0-491E-9774-3900AFEF0FD7}</a:tableStyleId>
              </a:tblPr>
              <a:tblGrid>
                <a:gridCol w="407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786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4292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effectLst/>
                        </a:rPr>
                        <a:t>PORTFOLIO</a:t>
                      </a:r>
                      <a:r>
                        <a:rPr lang="en-US" sz="1400" kern="1200" baseline="0" dirty="0">
                          <a:effectLst/>
                        </a:rPr>
                        <a:t> A</a:t>
                      </a:r>
                    </a:p>
                    <a:p>
                      <a:pPr algn="ctr"/>
                      <a:r>
                        <a:rPr lang="en-GB" sz="1400" kern="1200" dirty="0">
                          <a:effectLst/>
                        </a:rPr>
                        <a:t>(Management of old, current and new claims)</a:t>
                      </a:r>
                      <a:r>
                        <a:rPr lang="en-US" sz="1400" kern="1200" dirty="0">
                          <a:effectLst/>
                        </a:rPr>
                        <a:t>                                                               </a:t>
                      </a:r>
                      <a:endParaRPr lang="en-ZA" sz="14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0" lv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ZA" sz="12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GB" sz="1200" dirty="0">
                          <a:effectLst/>
                        </a:rPr>
                        <a:t>Travel Policies</a:t>
                      </a:r>
                      <a:endParaRPr lang="en-ZA" sz="12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1200" b="1" dirty="0">
                          <a:effectLst/>
                        </a:rPr>
                        <a:t>Limit of Indemnity</a:t>
                      </a:r>
                      <a:endParaRPr lang="en-ZA" sz="1200" b="1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GB" sz="1100" dirty="0">
                          <a:effectLst/>
                        </a:rPr>
                        <a:t>Transnet Business Travel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150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GB" sz="1100" dirty="0">
                          <a:effectLst/>
                        </a:rPr>
                        <a:t>Blue Train Travel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150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GB" sz="1100" dirty="0">
                          <a:effectLst/>
                        </a:rPr>
                        <a:t>TNPA Cadets Travel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150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GB" sz="1200" dirty="0">
                          <a:effectLst/>
                        </a:rPr>
                        <a:t>Trustees</a:t>
                      </a:r>
                      <a:endParaRPr lang="en-ZA" sz="12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      a) Transmed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80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      c) Transnet Retirement Fund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75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      d) Transnet 2nd Defined Benefit Fund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75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      e) Transport Pension Fund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75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   Transnet Funeral Benefit Scheme    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20 800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94239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379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mits of Liability (Continue)</a:t>
            </a:r>
            <a:endParaRPr lang="en-ZA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3034150"/>
              </p:ext>
            </p:extLst>
          </p:nvPr>
        </p:nvGraphicFramePr>
        <p:xfrm>
          <a:off x="1845574" y="1247000"/>
          <a:ext cx="8540372" cy="5164648"/>
        </p:xfrm>
        <a:graphic>
          <a:graphicData uri="http://schemas.openxmlformats.org/drawingml/2006/table">
            <a:tbl>
              <a:tblPr firstRow="1" firstCol="1">
                <a:tableStyleId>{10A1B5D5-9B99-4C35-A422-299274C87663}</a:tableStyleId>
              </a:tblPr>
              <a:tblGrid>
                <a:gridCol w="40775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628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8648">
                <a:tc gridSpan="2">
                  <a:txBody>
                    <a:bodyPr/>
                    <a:lstStyle/>
                    <a:p>
                      <a:r>
                        <a:rPr lang="en-US" sz="1400" kern="1200" dirty="0">
                          <a:effectLst/>
                        </a:rPr>
                        <a:t>                                                                PORTFOLIO A</a:t>
                      </a:r>
                      <a:endParaRPr lang="en-ZA" sz="1400" kern="1200" dirty="0">
                        <a:effectLst/>
                      </a:endParaRPr>
                    </a:p>
                    <a:p>
                      <a:r>
                        <a:rPr lang="en-US" sz="1400" kern="1200" dirty="0">
                          <a:effectLst/>
                        </a:rPr>
                        <a:t> </a:t>
                      </a:r>
                      <a:r>
                        <a:rPr lang="en-GB" sz="1400" kern="1200" dirty="0">
                          <a:effectLst/>
                        </a:rPr>
                        <a:t>                                      (Management of old, current and new claims)</a:t>
                      </a:r>
                      <a:endParaRPr lang="en-ZA" sz="14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0" lv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ZA" sz="12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GB" sz="1200" dirty="0">
                          <a:effectLst/>
                        </a:rPr>
                        <a:t>Group Personal Accident (GPA) Policies</a:t>
                      </a:r>
                      <a:endParaRPr lang="en-ZA" sz="12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1200" dirty="0">
                          <a:effectLst/>
                        </a:rPr>
                        <a:t>                             </a:t>
                      </a:r>
                      <a:r>
                        <a:rPr lang="en-US" sz="1200" b="1" dirty="0">
                          <a:effectLst/>
                        </a:rPr>
                        <a:t>Limit of Indemnity</a:t>
                      </a:r>
                      <a:endParaRPr lang="en-ZA" sz="1200" b="1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a)  Phelophepha Healthcare Train I &amp; II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1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b)  Phelophepha Accidental Exposure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effectLst/>
                        </a:rPr>
                        <a:t>R 1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c)  TNPA’s Cadet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1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d)  Non-Executive Directors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1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e)  Transmed Trustees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2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f)  TE students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1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g)  TPT Shuttle Services (Operational Sites)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1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h)  Transnet 2nd Defined Benefit Fund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1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 err="1">
                          <a:effectLst/>
                        </a:rPr>
                        <a:t>i</a:t>
                      </a:r>
                      <a:r>
                        <a:rPr lang="en-GB" sz="1100" dirty="0">
                          <a:effectLst/>
                        </a:rPr>
                        <a:t>)  TNPA Aviation Trainees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1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j)  Transnet Foundation Learners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1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k)   </a:t>
                      </a:r>
                      <a:r>
                        <a:rPr lang="en-GB" sz="1100" dirty="0">
                          <a:effectLst/>
                        </a:rPr>
                        <a:t>TNPA Engineering Trainees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1 Million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l ) TE Students (Group Life)</a:t>
                      </a:r>
                      <a:endParaRPr lang="en-ZA" sz="11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</a:rPr>
                        <a:t>R 50</a:t>
                      </a:r>
                      <a:r>
                        <a:rPr lang="en-US" sz="1100" b="0" baseline="0" dirty="0">
                          <a:effectLst/>
                        </a:rPr>
                        <a:t> 000</a:t>
                      </a:r>
                      <a:endParaRPr lang="en-ZA" sz="1100" b="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74336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ims History - Group Personal Accident</a:t>
            </a:r>
            <a:endParaRPr lang="en-ZA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2310062" y="1937086"/>
          <a:ext cx="7915311" cy="2165225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26384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84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384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5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</a:rPr>
                        <a:t>POLICY YEAR </a:t>
                      </a:r>
                      <a:endParaRPr lang="en-US" sz="1100" b="0" dirty="0">
                        <a:effectLst/>
                        <a:latin typeface="+mn-lt"/>
                        <a:ea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</a:rPr>
                        <a:t>NUMBER OF INCIDENTS</a:t>
                      </a:r>
                      <a:endParaRPr lang="en-US" sz="1100" b="0" dirty="0">
                        <a:effectLst/>
                        <a:latin typeface="+mn-lt"/>
                        <a:ea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</a:rPr>
                        <a:t>GROSS</a:t>
                      </a:r>
                      <a:r>
                        <a:rPr lang="en-US" sz="1100" baseline="0" dirty="0">
                          <a:effectLst/>
                        </a:rPr>
                        <a:t> CLAIM </a:t>
                      </a:r>
                      <a:endParaRPr lang="en-US" sz="1100" b="0" dirty="0">
                        <a:effectLst/>
                        <a:latin typeface="+mn-lt"/>
                        <a:ea typeface="Arial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</a:rPr>
                        <a:t>18 / 19</a:t>
                      </a:r>
                      <a:endParaRPr lang="en-US" sz="1100" dirty="0">
                        <a:effectLst/>
                        <a:latin typeface="+mn-lt"/>
                        <a:ea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R 3 000 000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</a:rPr>
                        <a:t>19 / 20</a:t>
                      </a:r>
                      <a:endParaRPr lang="en-US" sz="1100" dirty="0">
                        <a:effectLst/>
                        <a:latin typeface="+mn-lt"/>
                        <a:ea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</a:rPr>
                        <a:t>20 / 21</a:t>
                      </a:r>
                      <a:endParaRPr lang="en-US" sz="1100" dirty="0">
                        <a:effectLst/>
                        <a:latin typeface="+mn-lt"/>
                        <a:ea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  <a:ea typeface="Arial"/>
                        </a:rPr>
                        <a:t>21 / 22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530219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  <a:ea typeface="Arial"/>
                        </a:rPr>
                        <a:t>22 / 23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R1 000 000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77241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35882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593" y="152915"/>
            <a:ext cx="10068389" cy="720105"/>
          </a:xfrm>
        </p:spPr>
        <p:txBody>
          <a:bodyPr/>
          <a:lstStyle/>
          <a:p>
            <a:r>
              <a:rPr lang="en-US" dirty="0"/>
              <a:t>Claims History - Travel</a:t>
            </a:r>
            <a:endParaRPr lang="en-ZA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57173361"/>
              </p:ext>
            </p:extLst>
          </p:nvPr>
        </p:nvGraphicFramePr>
        <p:xfrm>
          <a:off x="2382251" y="1816768"/>
          <a:ext cx="6910164" cy="2172979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2303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3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033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297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</a:rPr>
                        <a:t>Policy Year </a:t>
                      </a:r>
                      <a:endParaRPr lang="en-US" sz="1100" b="0" dirty="0">
                        <a:effectLst/>
                        <a:latin typeface="+mn-lt"/>
                        <a:ea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</a:rPr>
                        <a:t>Number of Incidents</a:t>
                      </a:r>
                      <a:endParaRPr lang="en-US" sz="1100" b="0" dirty="0">
                        <a:effectLst/>
                        <a:latin typeface="+mn-lt"/>
                        <a:ea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</a:rPr>
                        <a:t>Gross</a:t>
                      </a:r>
                      <a:r>
                        <a:rPr lang="en-US" sz="1100" baseline="0" dirty="0">
                          <a:effectLst/>
                        </a:rPr>
                        <a:t> Claim </a:t>
                      </a:r>
                      <a:endParaRPr lang="en-US" sz="1100" b="0" dirty="0">
                        <a:effectLst/>
                        <a:latin typeface="+mn-lt"/>
                        <a:ea typeface="Arial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</a:rPr>
                        <a:t>18 / 19</a:t>
                      </a:r>
                      <a:endParaRPr lang="en-US" sz="1100" dirty="0">
                        <a:effectLst/>
                        <a:latin typeface="+mn-lt"/>
                        <a:ea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/>
                        <a:t>R 3 792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</a:rPr>
                        <a:t>19 / 20</a:t>
                      </a:r>
                      <a:endParaRPr lang="en-US" sz="1100" dirty="0">
                        <a:effectLst/>
                        <a:latin typeface="+mn-lt"/>
                        <a:ea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/>
                        <a:t>0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</a:rPr>
                        <a:t>20 / 21</a:t>
                      </a:r>
                      <a:endParaRPr lang="en-US" sz="1100" dirty="0">
                        <a:effectLst/>
                        <a:latin typeface="+mn-lt"/>
                        <a:ea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/>
                        <a:t>0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  <a:ea typeface="Arial"/>
                        </a:rPr>
                        <a:t>21 / 22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/>
                        <a:t>R12 457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1527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  <a:ea typeface="Arial"/>
                        </a:rPr>
                        <a:t>22 / 23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/>
                        <a:t>0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94119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2881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7334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ims History - Trust Funds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>
                <a:solidFill>
                  <a:schemeClr val="tx1"/>
                </a:solidFill>
              </a:rPr>
              <a:t>No Claims </a:t>
            </a:r>
            <a:endParaRPr lang="en-Z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196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15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1" imgH="361" progId="TCLayout.ActiveDocument.1">
                  <p:embed/>
                </p:oleObj>
              </mc:Choice>
              <mc:Fallback>
                <p:oleObj name="think-cell Slide" r:id="rId4" imgW="361" imgH="36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800" b="1" dirty="0">
              <a:solidFill>
                <a:schemeClr val="tx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icy Wordings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Its deemed to be private and confidential and Transnet will not be shared the policy wording during the tender process.</a:t>
            </a:r>
            <a:endParaRPr lang="en-ZA">
              <a:solidFill>
                <a:schemeClr val="tx1"/>
              </a:solidFill>
            </a:endParaRP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109803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0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7.62902702884040184728E+00&quot;&gt;&lt;m_msothmcolidx val=&quot;0&quot;/&gt;&lt;m_rgb r=&quot;E4&quot; g=&quot;23&quot; b=&quot;13&quot;/&gt;&lt;m_nBrightness endver=&quot;26206&quot; val=&quot;0&quot;/&gt;&lt;/elem&gt;&lt;elem m_fUsage=&quot;1.22260777346774807128E+00&quot;&gt;&lt;m_msothmcolidx val=&quot;0&quot;/&gt;&lt;m_rgb r=&quot;95&quot; g=&quot;C1&quot; b=&quot;1F&quot;/&gt;&lt;m_nBrightness endver=&quot;26206&quot; val=&quot;0&quot;/&gt;&lt;/elem&gt;&lt;elem m_fUsage=&quot;4.30467210000000155556E-01&quot;&gt;&lt;m_msothmcolidx val=&quot;0&quot;/&gt;&lt;m_rgb r=&quot;FE&quot; g=&quot;F8&quot; b=&quot;12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o_PWAhw.mDdPQxwUuR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bduA63EnSydSqQe5yv0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DyZ7.KWQEy2tuZmtNR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Nlq40x2Zwm19dW148C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KTYdD6UV5DvjsZ4ua4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33khL7Er9Dk_hVoZUD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9jMTBXvzFMtL3vl2Eq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6YWAdJ4_dhCvPQuhJP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MASTER">
  <a:themeElements>
    <a:clrScheme name="Transnet">
      <a:dk1>
        <a:srgbClr val="000000"/>
      </a:dk1>
      <a:lt1>
        <a:sysClr val="window" lastClr="FFFFFF"/>
      </a:lt1>
      <a:dk2>
        <a:srgbClr val="69614E"/>
      </a:dk2>
      <a:lt2>
        <a:srgbClr val="C2BBAD"/>
      </a:lt2>
      <a:accent1>
        <a:srgbClr val="A1A250"/>
      </a:accent1>
      <a:accent2>
        <a:srgbClr val="6F90A7"/>
      </a:accent2>
      <a:accent3>
        <a:srgbClr val="84B5BD"/>
      </a:accent3>
      <a:accent4>
        <a:srgbClr val="C7B400"/>
      </a:accent4>
      <a:accent5>
        <a:srgbClr val="E42313"/>
      </a:accent5>
      <a:accent6>
        <a:srgbClr val="95C11F"/>
      </a:accent6>
      <a:hlink>
        <a:srgbClr val="00B0F0"/>
      </a:hlink>
      <a:folHlink>
        <a:srgbClr val="7030A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82</TotalTime>
  <Words>353</Words>
  <Application>Microsoft Office PowerPoint</Application>
  <PresentationFormat>Widescreen</PresentationFormat>
  <Paragraphs>103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Tahoma</vt:lpstr>
      <vt:lpstr>Tahoma Regular</vt:lpstr>
      <vt:lpstr>TEMPLATE MASTER</vt:lpstr>
      <vt:lpstr>think-cell Slide</vt:lpstr>
      <vt:lpstr>PowerPoint Presentation</vt:lpstr>
      <vt:lpstr>Portfolio A consists of:</vt:lpstr>
      <vt:lpstr>Limits of Liability</vt:lpstr>
      <vt:lpstr>Limits of Liability (Continue)</vt:lpstr>
      <vt:lpstr>Claims History - Group Personal Accident</vt:lpstr>
      <vt:lpstr>Claims History - Travel</vt:lpstr>
      <vt:lpstr>Claims History - Trust Funds</vt:lpstr>
      <vt:lpstr>Policy Wor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ndy Strauss</dc:creator>
  <cp:lastModifiedBy>Tarryn Foster          Transnet Corporate   JHB</cp:lastModifiedBy>
  <cp:revision>169</cp:revision>
  <dcterms:created xsi:type="dcterms:W3CDTF">2020-05-19T16:46:16Z</dcterms:created>
  <dcterms:modified xsi:type="dcterms:W3CDTF">2023-11-27T12:12:32Z</dcterms:modified>
</cp:coreProperties>
</file>